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417-4DBD-BC2E-CC429AE05F9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17-4DBD-BC2E-CC429AE05F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17-4DBD-BC2E-CC429AE05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44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25299">
                <a:noFill/>
              </a:ln>
            </c:spPr>
            <c:extLst>
              <c:ext xmlns:c16="http://schemas.microsoft.com/office/drawing/2014/chart" uri="{C3380CC4-5D6E-409C-BE32-E72D297353CC}">
                <c16:uniqueId val="{00000000-1097-4BBC-B654-6CC18FC5492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97-4BBC-B654-6CC18FC549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97-4BBC-B654-6CC18FC54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299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8-48F3-8783-5F673FA3E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8-48F3-8783-5F673FA3E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5038480"/>
        <c:axId val="1"/>
      </c:areaChart>
      <c:dateAx>
        <c:axId val="200503848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5038480"/>
        <c:crosses val="autoZero"/>
        <c:crossBetween val="midCat"/>
      </c:valAx>
      <c:spPr>
        <a:noFill/>
        <a:ln>
          <a:noFill/>
        </a:ln>
        <a:effectLst/>
        <a:sp3d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2ED0B-44D4-B6D0-9F98-274CD4A58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EE76C0A-1BCC-9FF0-87E8-D9501B2CE3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E76C0A-1BCC-9FF0-87E8-D9501B2CE3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7EA9AB3B-30C2-6269-437D-B1C9DDF940B4}"/>
              </a:ext>
            </a:extLst>
          </p:cNvPr>
          <p:cNvGraphicFramePr>
            <a:graphicFrameLocks/>
          </p:cNvGraphicFramePr>
          <p:nvPr/>
        </p:nvGraphicFramePr>
        <p:xfrm>
          <a:off x="6492875" y="1053397"/>
          <a:ext cx="2794000" cy="186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04">
            <a:extLst>
              <a:ext uri="{FF2B5EF4-FFF2-40B4-BE49-F238E27FC236}">
                <a16:creationId xmlns:a16="http://schemas.microsoft.com/office/drawing/2014/main" id="{A29A634E-7152-A5D4-9C55-422FA4CCEA57}"/>
              </a:ext>
            </a:extLst>
          </p:cNvPr>
          <p:cNvGraphicFramePr>
            <a:graphicFrameLocks/>
          </p:cNvGraphicFramePr>
          <p:nvPr/>
        </p:nvGraphicFramePr>
        <p:xfrm>
          <a:off x="9020175" y="1070859"/>
          <a:ext cx="2760663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809B7B-C918-F09E-57F3-BA15681FD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59123E-9CAB-0BC7-A342-A540009977E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44">
            <a:extLst>
              <a:ext uri="{FF2B5EF4-FFF2-40B4-BE49-F238E27FC236}">
                <a16:creationId xmlns:a16="http://schemas.microsoft.com/office/drawing/2014/main" id="{9AC39A14-61A9-0990-4651-D694F8EC70A0}"/>
              </a:ext>
            </a:extLst>
          </p:cNvPr>
          <p:cNvGraphicFramePr>
            <a:graphicFrameLocks/>
          </p:cNvGraphicFramePr>
          <p:nvPr/>
        </p:nvGraphicFramePr>
        <p:xfrm>
          <a:off x="481013" y="851784"/>
          <a:ext cx="6194425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6163B44-8776-22DE-954D-48643BDA58C8}"/>
              </a:ext>
            </a:extLst>
          </p:cNvPr>
          <p:cNvSpPr/>
          <p:nvPr/>
        </p:nvSpPr>
        <p:spPr>
          <a:xfrm>
            <a:off x="6656388" y="3928359"/>
            <a:ext cx="2447925" cy="21542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1CE101-161C-EDFC-17AC-76044613F28D}"/>
              </a:ext>
            </a:extLst>
          </p:cNvPr>
          <p:cNvSpPr/>
          <p:nvPr/>
        </p:nvSpPr>
        <p:spPr>
          <a:xfrm>
            <a:off x="7354888" y="1462972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tx1"/>
                </a:solidFill>
              </a:rPr>
              <a:t>2023</a:t>
            </a:r>
            <a:endParaRPr lang="en-US" sz="2000" b="1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4EC4AB3-B4AD-6E4B-BA24-3A614BB329ED}"/>
              </a:ext>
            </a:extLst>
          </p:cNvPr>
          <p:cNvCxnSpPr/>
          <p:nvPr/>
        </p:nvCxnSpPr>
        <p:spPr>
          <a:xfrm flipV="1">
            <a:off x="7870825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1B200A6-374E-8603-EF3C-E7E44DC138DB}"/>
              </a:ext>
            </a:extLst>
          </p:cNvPr>
          <p:cNvSpPr/>
          <p:nvPr/>
        </p:nvSpPr>
        <p:spPr>
          <a:xfrm>
            <a:off x="7562850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35%</a:t>
            </a: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5738A93A-1D97-DA4A-3B03-57A34F4FB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8788" y="4258559"/>
            <a:ext cx="2155825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Your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Here</a:t>
            </a:r>
            <a:endParaRPr lang="en-US" altLang="en-US" b="1" dirty="0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F11C02-D86C-892A-0A33-A9CBDACA39E5}"/>
              </a:ext>
            </a:extLst>
          </p:cNvPr>
          <p:cNvSpPr/>
          <p:nvPr/>
        </p:nvSpPr>
        <p:spPr>
          <a:xfrm>
            <a:off x="9218613" y="3928359"/>
            <a:ext cx="2447925" cy="2154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D1D93809-1503-D908-021F-44C2886B2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9738" y="4258559"/>
            <a:ext cx="2224087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>
                <a:solidFill>
                  <a:schemeClr val="bg1"/>
                </a:solidFill>
                <a:latin typeface="+mn-lt"/>
              </a:rPr>
              <a:t>Your Title Here</a:t>
            </a:r>
            <a:endParaRPr lang="en-US" altLang="en-US" b="1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CAF708-AFF9-B351-D549-58BB429D5CD2}"/>
              </a:ext>
            </a:extLst>
          </p:cNvPr>
          <p:cNvCxnSpPr/>
          <p:nvPr/>
        </p:nvCxnSpPr>
        <p:spPr>
          <a:xfrm flipV="1">
            <a:off x="10445750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E57D5A3-0274-1D61-EC7F-5A5F44529059}"/>
              </a:ext>
            </a:extLst>
          </p:cNvPr>
          <p:cNvSpPr/>
          <p:nvPr/>
        </p:nvSpPr>
        <p:spPr>
          <a:xfrm>
            <a:off x="10137775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50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A7B702-26F9-3647-2B55-C4F24D7B08B2}"/>
              </a:ext>
            </a:extLst>
          </p:cNvPr>
          <p:cNvSpPr/>
          <p:nvPr/>
        </p:nvSpPr>
        <p:spPr>
          <a:xfrm>
            <a:off x="9879013" y="1466147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432068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7</TotalTime>
  <Words>6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Area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0</cp:revision>
  <dcterms:created xsi:type="dcterms:W3CDTF">2021-03-31T02:49:57Z</dcterms:created>
  <dcterms:modified xsi:type="dcterms:W3CDTF">2025-10-16T10:48:54Z</dcterms:modified>
  <cp:category/>
</cp:coreProperties>
</file>